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963" r:id="rId7"/>
    <p:sldMasterId id="2147484967" r:id="rId8"/>
  </p:sldMasterIdLst>
  <p:notesMasterIdLst>
    <p:notesMasterId r:id="rId10"/>
  </p:notesMasterIdLst>
  <p:handoutMasterIdLst>
    <p:handoutMasterId r:id="rId11"/>
  </p:handoutMasterIdLst>
  <p:sldIdLst>
    <p:sldId id="306" r:id="rId9"/>
  </p:sldIdLst>
  <p:sldSz cx="9144000" cy="6858000" type="screen4x3"/>
  <p:notesSz cx="6797675" cy="9926638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0">
          <p15:clr>
            <a:srgbClr val="A4A3A4"/>
          </p15:clr>
        </p15:guide>
        <p15:guide id="2" orient="horz" pos="3753">
          <p15:clr>
            <a:srgbClr val="A4A3A4"/>
          </p15:clr>
        </p15:guide>
        <p15:guide id="3" pos="56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037079" initials="" lastIdx="11" clrIdx="0"/>
  <p:cmAuthor id="1" name="Jochen Roehrig" initials="" lastIdx="1" clrIdx="1"/>
  <p:cmAuthor id="2" name="Zoran Spasic" initials="ZS" lastIdx="3" clrIdx="2"/>
  <p:cmAuthor id="3" name="Jochen Roehrig" initials="JR" lastIdx="5" clrIdx="3"/>
  <p:cmAuthor id="4" name="Oscar Fernandez Moreno" initials="OFM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  <a:srgbClr val="00FF00"/>
    <a:srgbClr val="000066"/>
    <a:srgbClr val="E7E9EF"/>
    <a:srgbClr val="DFE8F5"/>
    <a:srgbClr val="FF0066"/>
    <a:srgbClr val="99FF99"/>
    <a:srgbClr val="E4AD20"/>
    <a:srgbClr val="FDA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6" autoAdjust="0"/>
    <p:restoredTop sz="96134" autoAdjust="0"/>
  </p:normalViewPr>
  <p:slideViewPr>
    <p:cSldViewPr snapToGrid="0">
      <p:cViewPr varScale="1">
        <p:scale>
          <a:sx n="64" d="100"/>
          <a:sy n="64" d="100"/>
        </p:scale>
        <p:origin x="1422" y="60"/>
      </p:cViewPr>
      <p:guideLst>
        <p:guide orient="horz" pos="4080"/>
        <p:guide orient="horz" pos="3753"/>
        <p:guide pos="5624"/>
      </p:guideLst>
    </p:cSldViewPr>
  </p:slideViewPr>
  <p:outlineViewPr>
    <p:cViewPr>
      <p:scale>
        <a:sx n="33" d="100"/>
        <a:sy n="33" d="100"/>
      </p:scale>
      <p:origin x="0" y="101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-4020" y="-102"/>
      </p:cViewPr>
      <p:guideLst>
        <p:guide orient="horz" pos="3127"/>
        <p:guide pos="2140"/>
      </p:guideLst>
    </p:cSldViewPr>
  </p:notesViewPr>
  <p:gridSpacing cx="72237" cy="72237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0"/>
            <a:ext cx="294639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98" y="0"/>
            <a:ext cx="294639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4/10/2015</a:t>
            </a:r>
            <a:endParaRPr lang="de-DE" dirty="0"/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9" y="9428179"/>
            <a:ext cx="294639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Printed on: </a:t>
            </a:r>
            <a:endParaRPr lang="de-DE"/>
          </a:p>
        </p:txBody>
      </p:sp>
      <p:sp>
        <p:nvSpPr>
          <p:cNvPr id="573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98" y="9428179"/>
            <a:ext cx="294639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154" tIns="47577" rIns="95154" bIns="47577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5A4631B-A7C5-4AC1-BCE8-18B7564940E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453603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2946398" cy="496888"/>
          </a:xfrm>
          <a:prstGeom prst="rect">
            <a:avLst/>
          </a:prstGeom>
        </p:spPr>
        <p:txBody>
          <a:bodyPr vert="horz" lIns="95154" tIns="47577" rIns="95154" bIns="47577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98" y="0"/>
            <a:ext cx="2946398" cy="496888"/>
          </a:xfrm>
          <a:prstGeom prst="rect">
            <a:avLst/>
          </a:prstGeom>
        </p:spPr>
        <p:txBody>
          <a:bodyPr vert="horz" lIns="95154" tIns="47577" rIns="95154" bIns="47577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4/10/2015</a:t>
            </a:r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54" tIns="47577" rIns="95154" bIns="47577" rtlCol="0" anchor="ctr"/>
          <a:lstStyle/>
          <a:p>
            <a:pPr lvl="0"/>
            <a:endParaRPr lang="de-DE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46" y="4714888"/>
            <a:ext cx="5435599" cy="4467225"/>
          </a:xfrm>
          <a:prstGeom prst="rect">
            <a:avLst/>
          </a:prstGeom>
        </p:spPr>
        <p:txBody>
          <a:bodyPr vert="horz" lIns="95154" tIns="47577" rIns="95154" bIns="47577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DE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9428179"/>
            <a:ext cx="2946398" cy="496887"/>
          </a:xfrm>
          <a:prstGeom prst="rect">
            <a:avLst/>
          </a:prstGeom>
        </p:spPr>
        <p:txBody>
          <a:bodyPr vert="horz" lIns="95154" tIns="47577" rIns="95154" bIns="47577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de-DE" smtClean="0"/>
              <a:t>Printed on: 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98" y="9428179"/>
            <a:ext cx="2946398" cy="496887"/>
          </a:xfrm>
          <a:prstGeom prst="rect">
            <a:avLst/>
          </a:prstGeom>
        </p:spPr>
        <p:txBody>
          <a:bodyPr vert="horz" lIns="95154" tIns="47577" rIns="95154" bIns="47577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8B736FB-6ECC-4355-98CC-BF17AA82C87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062910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>
            <a:spLocks noChangeArrowheads="1"/>
          </p:cNvSpPr>
          <p:nvPr/>
        </p:nvSpPr>
        <p:spPr bwMode="auto">
          <a:xfrm>
            <a:off x="614363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414338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13" y="6207125"/>
            <a:ext cx="159702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124075" y="5229225"/>
            <a:ext cx="6624638" cy="647700"/>
          </a:xfrm>
          <a:solidFill>
            <a:srgbClr val="FFFFFF">
              <a:alpha val="50000"/>
            </a:srgbClr>
          </a:solidFill>
          <a:ln algn="ctr"/>
        </p:spPr>
        <p:txBody>
          <a:bodyPr lIns="91440" anchor="ctr"/>
          <a:lstStyle>
            <a:lvl1pPr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24075" y="4508500"/>
            <a:ext cx="6623050" cy="649288"/>
          </a:xfrm>
          <a:solidFill>
            <a:srgbClr val="FFFFFF">
              <a:alpha val="50000"/>
            </a:srgbClr>
          </a:solidFill>
          <a:ln/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Titelmasterformat durch klic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573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837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1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go_Blickwinkel_xtra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7" name="Bild 2" descr="Logo_Blickwinkel Kopie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Bild 2" descr="Logo_Blickwinkel Kopie.png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Bild 2" descr="Logo_Blickwinkel Kopie.png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1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8" descr="FMC-Logo-2009_blu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58750"/>
            <a:ext cx="8345487" cy="82232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36000" tIns="36000" rIns="36000" bIns="36000"/>
          <a:lstStyle>
            <a:lvl1pPr marL="206375" indent="-206375">
              <a:spcBef>
                <a:spcPts val="600"/>
              </a:spcBef>
              <a:buFont typeface="Wingdings" pitchFamily="2" charset="2"/>
              <a:buChar char="§"/>
              <a:defRPr sz="1600"/>
            </a:lvl1pPr>
            <a:lvl2pPr marL="434975" indent="-227013">
              <a:spcBef>
                <a:spcPts val="600"/>
              </a:spcBef>
              <a:buFont typeface="Wingdings" pitchFamily="2" charset="2"/>
              <a:buChar char="§"/>
              <a:defRPr sz="1600"/>
            </a:lvl2pPr>
            <a:lvl3pPr marL="663575" indent="-227013">
              <a:spcBef>
                <a:spcPts val="600"/>
              </a:spcBef>
              <a:buFont typeface="Wingdings" pitchFamily="2" charset="2"/>
              <a:buChar char="§"/>
              <a:defRPr sz="1400"/>
            </a:lvl3pPr>
            <a:lvl4pPr marL="903288" indent="-238125">
              <a:spcBef>
                <a:spcPts val="600"/>
              </a:spcBef>
              <a:buFont typeface="Wingdings" pitchFamily="2" charset="2"/>
              <a:buChar char="§"/>
              <a:defRPr sz="1400"/>
            </a:lvl4pPr>
            <a:lvl5pPr marL="1109663" indent="-204788">
              <a:spcBef>
                <a:spcPts val="600"/>
              </a:spcBef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lang="de-DE" dirty="0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 smtClean="0"/>
              <a:t>China Steering Committee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227570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8023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Logo_Blickwinkel_xtra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6" name="Bild 2" descr="Logo_Blickwinkel Kopie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Bild 2" descr="Logo_Blickwinkel Kopie.png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Bild 2" descr="Logo_Blickwinkel Kopie.png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0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8" descr="FMC-Logo-2009_blue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16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lang="de-DE" dirty="0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 smtClean="0"/>
              <a:t>China Steering Committee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271137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>
            <a:spLocks noChangeArrowheads="1"/>
          </p:cNvSpPr>
          <p:nvPr/>
        </p:nvSpPr>
        <p:spPr bwMode="auto">
          <a:xfrm>
            <a:off x="614363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414338" y="88900"/>
            <a:ext cx="184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en-GB" sz="700" dirty="0" smtClean="0">
              <a:solidFill>
                <a:srgbClr val="0084A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13" y="6207125"/>
            <a:ext cx="1597025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124075" y="5229225"/>
            <a:ext cx="6624638" cy="647700"/>
          </a:xfrm>
          <a:solidFill>
            <a:srgbClr val="FFFFFF">
              <a:alpha val="50000"/>
            </a:srgbClr>
          </a:solidFill>
          <a:ln algn="ctr"/>
        </p:spPr>
        <p:txBody>
          <a:bodyPr lIns="91440" anchor="ctr"/>
          <a:lstStyle>
            <a:lvl1pPr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24075" y="4508500"/>
            <a:ext cx="6623050" cy="649288"/>
          </a:xfrm>
          <a:solidFill>
            <a:srgbClr val="FFFFFF">
              <a:alpha val="50000"/>
            </a:srgbClr>
          </a:solidFill>
          <a:ln/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Titelmasterformat durch klic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9729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289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46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go_Blickwinkel_xtra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7" name="Bild 2" descr="Logo_Blickwinkel Kopie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Bild 2" descr="Logo_Blickwinkel Kopie.png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Bild 2" descr="Logo_Blickwinkel Kopie.png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1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8" descr="FMC-Logo-2009_blu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158750"/>
            <a:ext cx="8345487" cy="82232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36000" tIns="36000" rIns="36000" bIns="36000"/>
          <a:lstStyle>
            <a:lvl1pPr marL="206375" indent="-206375">
              <a:spcBef>
                <a:spcPts val="600"/>
              </a:spcBef>
              <a:buFont typeface="Wingdings" pitchFamily="2" charset="2"/>
              <a:buChar char="§"/>
              <a:defRPr sz="1600"/>
            </a:lvl1pPr>
            <a:lvl2pPr marL="434975" indent="-227013">
              <a:spcBef>
                <a:spcPts val="600"/>
              </a:spcBef>
              <a:buFont typeface="Wingdings" pitchFamily="2" charset="2"/>
              <a:buChar char="§"/>
              <a:defRPr sz="1600"/>
            </a:lvl2pPr>
            <a:lvl3pPr marL="663575" indent="-227013">
              <a:spcBef>
                <a:spcPts val="600"/>
              </a:spcBef>
              <a:buFont typeface="Wingdings" pitchFamily="2" charset="2"/>
              <a:buChar char="§"/>
              <a:defRPr sz="1400"/>
            </a:lvl3pPr>
            <a:lvl4pPr marL="903288" indent="-238125">
              <a:spcBef>
                <a:spcPts val="600"/>
              </a:spcBef>
              <a:buFont typeface="Wingdings" pitchFamily="2" charset="2"/>
              <a:buChar char="§"/>
              <a:defRPr sz="1400"/>
            </a:lvl4pPr>
            <a:lvl5pPr marL="1109663" indent="-204788">
              <a:spcBef>
                <a:spcPts val="600"/>
              </a:spcBef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 smtClean="0"/>
              <a:t>China Steering Committe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68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650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Logo_Blickwinkel_xtra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6" name="Bild 2" descr="Logo_Blickwinkel Kopie.png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Bild 2" descr="Logo_Blickwinkel Kopie.png"/>
            <p:cNvPicPr>
              <a:picLocks noChangeAspect="1"/>
            </p:cNvPicPr>
            <p:nvPr userDrawn="1"/>
          </p:nvPicPr>
          <p:blipFill>
            <a:blip r:embed="rId8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Bild 2" descr="Logo_Blickwinkel Kopie.png"/>
            <p:cNvPicPr>
              <a:picLocks noChangeAspect="1"/>
            </p:cNvPicPr>
            <p:nvPr userDrawn="1"/>
          </p:nvPicPr>
          <p:blipFill>
            <a:blip r:embed="rId9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10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8" descr="FMC-Logo-2009_blue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16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 smtClean="0"/>
              <a:t>China Steering Committe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3800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4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45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64296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11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2" descr="Logo_Blickwinkel_xtra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3086" name="Bild 2" descr="Logo_Blickwinkel Kopie.png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87" name="Bild 2" descr="Logo_Blickwinkel Kopie.png"/>
            <p:cNvPicPr>
              <a:picLocks noChangeAspect="1"/>
            </p:cNvPicPr>
            <p:nvPr userDrawn="1"/>
          </p:nvPicPr>
          <p:blipFill>
            <a:blip r:embed="rId11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88" name="Bild 2" descr="Logo_Blickwinkel Kopie.png"/>
            <p:cNvPicPr>
              <a:picLocks noChangeAspect="1"/>
            </p:cNvPicPr>
            <p:nvPr userDrawn="1"/>
          </p:nvPicPr>
          <p:blipFill>
            <a:blip r:embed="rId12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750"/>
            <a:ext cx="83454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8" y="1335088"/>
            <a:ext cx="8332787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grpSp>
        <p:nvGrpSpPr>
          <p:cNvPr id="307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3084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85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080" name="Picture 8" descr="FMC-Logo-2009_blu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>
                <a:latin typeface="Calibri"/>
              </a:rPr>
              <a:pPr>
                <a:defRPr/>
              </a:pPr>
              <a:t>‹#›</a:t>
            </a:fld>
            <a:endParaRPr lang="de-DE" dirty="0">
              <a:latin typeface="Calibri"/>
            </a:endParaRPr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 smtClean="0"/>
              <a:t>China Steering Committee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10483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4" r:id="rId1"/>
    <p:sldLayoutId id="2147484965" r:id="rId2"/>
    <p:sldLayoutId id="2147484966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9pPr>
    </p:titleStyle>
    <p:bodyStyle>
      <a:lvl1pPr marL="206375" indent="-206375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4975" indent="-22701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63575" indent="-22701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903288" indent="-238125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109663" indent="-204788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15668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20240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24812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29384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45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128098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363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2" descr="Logo_Blickwinkel_xtra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758825"/>
            <a:ext cx="127158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6" name="Group 3"/>
          <p:cNvGrpSpPr>
            <a:grpSpLocks/>
          </p:cNvGrpSpPr>
          <p:nvPr/>
        </p:nvGrpSpPr>
        <p:grpSpPr bwMode="auto">
          <a:xfrm>
            <a:off x="-11113" y="3106738"/>
            <a:ext cx="798513" cy="3540125"/>
            <a:chOff x="0" y="1957"/>
            <a:chExt cx="595" cy="2230"/>
          </a:xfrm>
        </p:grpSpPr>
        <p:pic>
          <p:nvPicPr>
            <p:cNvPr id="3086" name="Bild 2" descr="Logo_Blickwinkel Kopie.png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0"/>
            <a:stretch>
              <a:fillRect/>
            </a:stretch>
          </p:blipFill>
          <p:spPr bwMode="auto">
            <a:xfrm>
              <a:off x="0" y="1957"/>
              <a:ext cx="259" cy="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87" name="Bild 2" descr="Logo_Blickwinkel Kopie.png"/>
            <p:cNvPicPr>
              <a:picLocks noChangeAspect="1"/>
            </p:cNvPicPr>
            <p:nvPr userDrawn="1"/>
          </p:nvPicPr>
          <p:blipFill>
            <a:blip r:embed="rId11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115"/>
              <a:ext cx="338" cy="2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88" name="Bild 2" descr="Logo_Blickwinkel Kopie.png"/>
            <p:cNvPicPr>
              <a:picLocks noChangeAspect="1"/>
            </p:cNvPicPr>
            <p:nvPr userDrawn="1"/>
          </p:nvPicPr>
          <p:blipFill>
            <a:blip r:embed="rId12">
              <a:lum bright="2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1104">
              <a:off x="295" y="2205"/>
              <a:ext cx="300" cy="1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750"/>
            <a:ext cx="83454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8" y="1335088"/>
            <a:ext cx="8332787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grpSp>
        <p:nvGrpSpPr>
          <p:cNvPr id="3079" name="Group 17"/>
          <p:cNvGrpSpPr>
            <a:grpSpLocks/>
          </p:cNvGrpSpPr>
          <p:nvPr/>
        </p:nvGrpSpPr>
        <p:grpSpPr bwMode="auto">
          <a:xfrm>
            <a:off x="395288" y="1133475"/>
            <a:ext cx="7453312" cy="36513"/>
            <a:chOff x="249" y="663"/>
            <a:chExt cx="4695" cy="23"/>
          </a:xfrm>
        </p:grpSpPr>
        <p:sp>
          <p:nvSpPr>
            <p:cNvPr id="3084" name="Rectangle 18"/>
            <p:cNvSpPr>
              <a:spLocks noChangeArrowheads="1"/>
            </p:cNvSpPr>
            <p:nvPr userDrawn="1"/>
          </p:nvSpPr>
          <p:spPr bwMode="auto">
            <a:xfrm>
              <a:off x="249" y="663"/>
              <a:ext cx="1815" cy="23"/>
            </a:xfrm>
            <a:prstGeom prst="rect">
              <a:avLst/>
            </a:prstGeom>
            <a:solidFill>
              <a:srgbClr val="006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85" name="Rectangle 19"/>
            <p:cNvSpPr>
              <a:spLocks noChangeArrowheads="1"/>
            </p:cNvSpPr>
            <p:nvPr userDrawn="1"/>
          </p:nvSpPr>
          <p:spPr bwMode="auto">
            <a:xfrm>
              <a:off x="2064" y="663"/>
              <a:ext cx="2880" cy="23"/>
            </a:xfrm>
            <a:prstGeom prst="rect">
              <a:avLst/>
            </a:prstGeom>
            <a:gradFill rotWithShape="1">
              <a:gsLst>
                <a:gs pos="0">
                  <a:srgbClr val="0067B1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080" name="Picture 8" descr="FMC-Logo-2009_blu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6562725"/>
            <a:ext cx="900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0" y="6477000"/>
            <a:ext cx="9144000" cy="0"/>
          </a:xfrm>
          <a:prstGeom prst="line">
            <a:avLst/>
          </a:prstGeom>
          <a:noFill/>
          <a:ln w="12700">
            <a:solidFill>
              <a:srgbClr val="05229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 smtClean="0">
              <a:solidFill>
                <a:srgbClr val="00509C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" name="Slide Number Placeholder 9"/>
          <p:cNvSpPr txBox="1">
            <a:spLocks/>
          </p:cNvSpPr>
          <p:nvPr userDrawn="1"/>
        </p:nvSpPr>
        <p:spPr>
          <a:xfrm>
            <a:off x="8134350" y="6546850"/>
            <a:ext cx="596900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b="1" kern="1200">
                <a:solidFill>
                  <a:srgbClr val="00509C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D2735AD-7541-4F23-8A06-EF23F0DD8C51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8" name="Footer Placeholder 10"/>
          <p:cNvSpPr txBox="1">
            <a:spLocks/>
          </p:cNvSpPr>
          <p:nvPr userDrawn="1"/>
        </p:nvSpPr>
        <p:spPr>
          <a:xfrm>
            <a:off x="2414588" y="6546850"/>
            <a:ext cx="5694362" cy="2159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509C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 smtClean="0"/>
              <a:t>China Steering Committe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15988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0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</a:defRPr>
      </a:lvl9pPr>
    </p:titleStyle>
    <p:bodyStyle>
      <a:lvl1pPr marL="206375" indent="-206375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4975" indent="-22701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63575" indent="-22701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903288" indent="-238125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109663" indent="-204788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15668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20240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24812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2938463" indent="-204788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直接箭头连接符 24"/>
          <p:cNvCxnSpPr>
            <a:stCxn id="7" idx="0"/>
            <a:endCxn id="6" idx="2"/>
          </p:cNvCxnSpPr>
          <p:nvPr/>
        </p:nvCxnSpPr>
        <p:spPr>
          <a:xfrm flipV="1">
            <a:off x="5206055" y="2090057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肘形连接符 11"/>
          <p:cNvCxnSpPr/>
          <p:nvPr/>
        </p:nvCxnSpPr>
        <p:spPr>
          <a:xfrm rot="10800000" flipH="1">
            <a:off x="4164659" y="1654626"/>
            <a:ext cx="914400" cy="1088572"/>
          </a:xfrm>
          <a:prstGeom prst="bentConnector4">
            <a:avLst>
              <a:gd name="adj1" fmla="val -37239"/>
              <a:gd name="adj2" fmla="val 121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>
          <a:xfrm flipH="1">
            <a:off x="4739118" y="2082801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Between HIS and </a:t>
            </a:r>
            <a:r>
              <a:rPr lang="en-US" dirty="0" err="1" smtClean="0"/>
              <a:t>inSITE</a:t>
            </a:r>
            <a:endParaRPr lang="en-US" dirty="0"/>
          </a:p>
        </p:txBody>
      </p:sp>
      <p:sp>
        <p:nvSpPr>
          <p:cNvPr id="6" name="圆角矩形 5"/>
          <p:cNvSpPr/>
          <p:nvPr/>
        </p:nvSpPr>
        <p:spPr>
          <a:xfrm>
            <a:off x="4306169" y="1640114"/>
            <a:ext cx="1814286" cy="44994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HIS 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298912" y="2503714"/>
            <a:ext cx="1814286" cy="44994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tx1"/>
                </a:solidFill>
              </a:rPr>
              <a:t>inSITE</a:t>
            </a:r>
            <a:r>
              <a:rPr lang="en-US" altLang="zh-CN" sz="1600" dirty="0" smtClean="0">
                <a:solidFill>
                  <a:schemeClr val="tx1"/>
                </a:solidFill>
              </a:rPr>
              <a:t> P11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9" name="肘形连接符 8"/>
          <p:cNvCxnSpPr>
            <a:stCxn id="7" idx="1"/>
            <a:endCxn id="6" idx="1"/>
          </p:cNvCxnSpPr>
          <p:nvPr/>
        </p:nvCxnSpPr>
        <p:spPr>
          <a:xfrm rot="10800000" flipH="1">
            <a:off x="4298911" y="1865086"/>
            <a:ext cx="7257" cy="863600"/>
          </a:xfrm>
          <a:prstGeom prst="bentConnector3">
            <a:avLst>
              <a:gd name="adj1" fmla="val -248689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七边形 9"/>
          <p:cNvSpPr/>
          <p:nvPr/>
        </p:nvSpPr>
        <p:spPr>
          <a:xfrm>
            <a:off x="3690758" y="2167785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1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肘形连接符 14"/>
          <p:cNvCxnSpPr>
            <a:stCxn id="6" idx="3"/>
            <a:endCxn id="7" idx="3"/>
          </p:cNvCxnSpPr>
          <p:nvPr/>
        </p:nvCxnSpPr>
        <p:spPr>
          <a:xfrm flipH="1">
            <a:off x="6113198" y="1865086"/>
            <a:ext cx="7257" cy="863600"/>
          </a:xfrm>
          <a:prstGeom prst="bentConnector3">
            <a:avLst>
              <a:gd name="adj1" fmla="val -215531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肘形连接符 16"/>
          <p:cNvCxnSpPr>
            <a:stCxn id="6" idx="3"/>
            <a:endCxn id="7" idx="2"/>
          </p:cNvCxnSpPr>
          <p:nvPr/>
        </p:nvCxnSpPr>
        <p:spPr>
          <a:xfrm flipH="1">
            <a:off x="5206055" y="1865086"/>
            <a:ext cx="914400" cy="1088571"/>
          </a:xfrm>
          <a:prstGeom prst="bentConnector4">
            <a:avLst>
              <a:gd name="adj1" fmla="val -44403"/>
              <a:gd name="adj2" fmla="val 121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七边形 18"/>
          <p:cNvSpPr/>
          <p:nvPr/>
        </p:nvSpPr>
        <p:spPr>
          <a:xfrm>
            <a:off x="3995827" y="2148113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2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1" name="七边形 20"/>
          <p:cNvSpPr/>
          <p:nvPr/>
        </p:nvSpPr>
        <p:spPr>
          <a:xfrm>
            <a:off x="6137838" y="2177144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</a:rPr>
              <a:t>6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" name="七边形 19"/>
          <p:cNvSpPr/>
          <p:nvPr/>
        </p:nvSpPr>
        <p:spPr>
          <a:xfrm>
            <a:off x="4600275" y="2160335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3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4" name="七边形 23"/>
          <p:cNvSpPr/>
          <p:nvPr/>
        </p:nvSpPr>
        <p:spPr>
          <a:xfrm>
            <a:off x="6421248" y="2186880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7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103120" y="1291772"/>
            <a:ext cx="1748776" cy="224971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1. Material Maste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Material master </a:t>
            </a:r>
            <a:r>
              <a:rPr lang="en-US" altLang="zh-CN" sz="1200" dirty="0" smtClean="0">
                <a:solidFill>
                  <a:schemeClr val="tx1"/>
                </a:solidFill>
              </a:rPr>
              <a:t>data of inventory-managed items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  <a:endParaRPr lang="zh-CN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103122" y="3852182"/>
            <a:ext cx="1990371" cy="245236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4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PO/Return P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PO/Return </a:t>
            </a:r>
            <a:r>
              <a:rPr lang="en-US" altLang="zh-CN" sz="1200" dirty="0" smtClean="0">
                <a:solidFill>
                  <a:schemeClr val="tx1"/>
                </a:solidFill>
              </a:rPr>
              <a:t>PO for FA-managed items and inventory-managed items, and expense-managed items depending on whether it is centrally procured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29" name="圆角矩形 28"/>
          <p:cNvSpPr/>
          <p:nvPr/>
        </p:nvSpPr>
        <p:spPr>
          <a:xfrm>
            <a:off x="4699865" y="3852180"/>
            <a:ext cx="1926780" cy="24378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6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G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</a:t>
            </a:r>
            <a:r>
              <a:rPr lang="en-US" altLang="zh-CN" sz="1200" dirty="0" smtClean="0">
                <a:solidFill>
                  <a:schemeClr val="tx1"/>
                </a:solidFill>
              </a:rPr>
              <a:t>GR for the PO related items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6941779" y="3852180"/>
            <a:ext cx="2075728" cy="245236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chemeClr val="tx1"/>
                </a:solidFill>
              </a:rPr>
              <a:t>7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. </a:t>
            </a:r>
            <a:r>
              <a:rPr lang="en-US" altLang="zh-CN" sz="1600" b="1" dirty="0">
                <a:solidFill>
                  <a:schemeClr val="tx1"/>
                </a:solidFill>
              </a:rPr>
              <a:t>Inventory Movement (</a:t>
            </a:r>
            <a:r>
              <a:rPr lang="en-US" altLang="zh-CN" sz="1600" b="1" dirty="0" smtClean="0">
                <a:solidFill>
                  <a:schemeClr val="tx1"/>
                </a:solidFill>
              </a:rPr>
              <a:t>type and nature)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Inventory normal consumption, stock-take variance, scrape (e.g. due to product expiry) 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6736369" y="1291770"/>
            <a:ext cx="2281138" cy="22497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3. T2R Data by Category TBD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Revenue by category, AR by account, Cash collection by payment method, Refund by account, Advance by </a:t>
            </a:r>
            <a:r>
              <a:rPr lang="en-US" altLang="zh-CN" sz="1200" dirty="0" smtClean="0">
                <a:solidFill>
                  <a:schemeClr val="tx1"/>
                </a:solidFill>
              </a:rPr>
              <a:t>account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</a:p>
        </p:txBody>
      </p:sp>
      <p:sp>
        <p:nvSpPr>
          <p:cNvPr id="22" name="七边形 21"/>
          <p:cNvSpPr/>
          <p:nvPr/>
        </p:nvSpPr>
        <p:spPr>
          <a:xfrm>
            <a:off x="5086514" y="2167786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4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6" name="直接箭头连接符 25"/>
          <p:cNvCxnSpPr/>
          <p:nvPr/>
        </p:nvCxnSpPr>
        <p:spPr>
          <a:xfrm flipH="1">
            <a:off x="5680653" y="2090057"/>
            <a:ext cx="7257" cy="4136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七边形 31"/>
          <p:cNvSpPr/>
          <p:nvPr/>
        </p:nvSpPr>
        <p:spPr>
          <a:xfrm>
            <a:off x="5552123" y="2160717"/>
            <a:ext cx="261257" cy="232229"/>
          </a:xfrm>
          <a:prstGeom prst="hept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</a:rPr>
              <a:t>5</a:t>
            </a:r>
            <a:endParaRPr lang="zh-CN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1967053" y="1299028"/>
            <a:ext cx="1703957" cy="224971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2. Vendor Maste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</a:t>
            </a:r>
            <a:r>
              <a:rPr lang="en-US" altLang="zh-CN" sz="1200" dirty="0" smtClean="0">
                <a:solidFill>
                  <a:schemeClr val="tx1"/>
                </a:solidFill>
              </a:rPr>
              <a:t>: Vendor master data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</a:t>
            </a:r>
            <a:r>
              <a:rPr lang="en-US" altLang="zh-CN" sz="1200" dirty="0" smtClean="0">
                <a:solidFill>
                  <a:schemeClr val="tx1"/>
                </a:solidFill>
              </a:rPr>
              <a:t>daily</a:t>
            </a:r>
            <a:endParaRPr lang="zh-CN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2454734" y="3866695"/>
            <a:ext cx="1926780" cy="24378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600" b="1" dirty="0" smtClean="0">
                <a:solidFill>
                  <a:schemeClr val="tx1"/>
                </a:solidFill>
              </a:rPr>
              <a:t>5. P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Data </a:t>
            </a:r>
            <a:r>
              <a:rPr lang="en-US" altLang="zh-CN" sz="1200" dirty="0">
                <a:solidFill>
                  <a:schemeClr val="tx1"/>
                </a:solidFill>
              </a:rPr>
              <a:t>object: </a:t>
            </a:r>
            <a:r>
              <a:rPr lang="en-US" altLang="zh-CN" sz="1200" dirty="0" smtClean="0">
                <a:solidFill>
                  <a:schemeClr val="tx1"/>
                </a:solidFill>
              </a:rPr>
              <a:t>PR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ender </a:t>
            </a:r>
            <a:r>
              <a:rPr lang="en-US" altLang="zh-CN" sz="1200" dirty="0">
                <a:solidFill>
                  <a:schemeClr val="tx1"/>
                </a:solidFill>
              </a:rPr>
              <a:t>system: HIS </a:t>
            </a:r>
            <a:r>
              <a:rPr lang="en-US" altLang="zh-CN" sz="1200" dirty="0" smtClean="0">
                <a:solidFill>
                  <a:schemeClr val="tx1"/>
                </a:solidFill>
              </a:rPr>
              <a:t>Lenovo</a:t>
            </a: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Receiving </a:t>
            </a:r>
            <a:r>
              <a:rPr lang="en-US" altLang="zh-CN" sz="1200" dirty="0">
                <a:solidFill>
                  <a:schemeClr val="tx1"/>
                </a:solidFill>
              </a:rPr>
              <a:t>system: </a:t>
            </a:r>
            <a:r>
              <a:rPr lang="en-US" altLang="zh-CN" sz="1200" dirty="0" err="1" smtClean="0">
                <a:solidFill>
                  <a:schemeClr val="tx1"/>
                </a:solidFill>
              </a:rPr>
              <a:t>inSITE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Frequency</a:t>
            </a:r>
            <a:r>
              <a:rPr lang="en-US" altLang="zh-CN" sz="1200" dirty="0">
                <a:solidFill>
                  <a:schemeClr val="tx1"/>
                </a:solidFill>
              </a:rPr>
              <a:t>: daily</a:t>
            </a:r>
            <a:endParaRPr lang="zh-CN" altLang="en-US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1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7&quot;&gt;&lt;elem m_fUsage=&quot;3.97852344156448320000E+000&quot;&gt;&lt;m_msothmcolidx val=&quot;0&quot;/&gt;&lt;m_rgb r=&quot;EF&quot; g=&quot;D0&quot; b=&quot;81&quot;/&gt;&lt;m_nBrightness val=&quot;0&quot;/&gt;&lt;/elem&gt;&lt;elem m_fUsage=&quot;1.89999999999999990000E+000&quot;&gt;&lt;m_msothmcolidx val=&quot;0&quot;/&gt;&lt;m_rgb r=&quot;63&quot; g=&quot;B7&quot; b=&quot;46&quot;/&gt;&lt;m_nBrightness val=&quot;0&quot;/&gt;&lt;/elem&gt;&lt;elem m_fUsage=&quot;1.41017679837624280000E+000&quot;&gt;&lt;m_msothmcolidx val=&quot;0&quot;/&gt;&lt;m_rgb r=&quot;C3&quot; g=&quot;0C&quot; b=&quot;41&quot;/&gt;&lt;m_nBrightness val=&quot;0&quot;/&gt;&lt;/elem&gt;&lt;elem m_fUsage=&quot;1.10831183203318600000E+000&quot;&gt;&lt;m_msothmcolidx val=&quot;0&quot;/&gt;&lt;m_rgb r=&quot;14&quot; g=&quot;96&quot; b=&quot;1B&quot;/&gt;&lt;m_nBrightness val=&quot;0&quot;/&gt;&lt;/elem&gt;&lt;elem m_fUsage=&quot;5.65552381767299380000E-001&quot;&gt;&lt;m_msothmcolidx val=&quot;0&quot;/&gt;&lt;m_rgb r=&quot;FF&quot; g=&quot;CF&quot; b=&quot;75&quot;/&gt;&lt;m_nBrightness val=&quot;0&quot;/&gt;&lt;/elem&gt;&lt;elem m_fUsage=&quot;5.57964967976498970000E-001&quot;&gt;&lt;m_msothmcolidx val=&quot;0&quot;/&gt;&lt;m_rgb r=&quot;FE&quot; g=&quot;8B&quot; b=&quot;7A&quot;/&gt;&lt;m_nBrightness val=&quot;0&quot;/&gt;&lt;/elem&gt;&lt;elem m_fUsage=&quot;2.54186582832900130000E-001&quot;&gt;&lt;m_msothmcolidx val=&quot;0&quot;/&gt;&lt;m_rgb r=&quot;FF&quot; g=&quot;FF&quot; b=&quot;9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inSITE">
  <a:themeElements>
    <a:clrScheme name="Benutzerdefiniert 3">
      <a:dk1>
        <a:srgbClr val="00509C"/>
      </a:dk1>
      <a:lt1>
        <a:srgbClr val="FFFFFF"/>
      </a:lt1>
      <a:dk2>
        <a:srgbClr val="00509C"/>
      </a:dk2>
      <a:lt2>
        <a:srgbClr val="FFC000"/>
      </a:lt2>
      <a:accent1>
        <a:srgbClr val="00509C"/>
      </a:accent1>
      <a:accent2>
        <a:srgbClr val="3F80BD"/>
      </a:accent2>
      <a:accent3>
        <a:srgbClr val="94BADE"/>
      </a:accent3>
      <a:accent4>
        <a:srgbClr val="009C2D"/>
      </a:accent4>
      <a:accent5>
        <a:srgbClr val="9C0012"/>
      </a:accent5>
      <a:accent6>
        <a:srgbClr val="94BADE"/>
      </a:accent6>
      <a:hlink>
        <a:srgbClr val="00509C"/>
      </a:hlink>
      <a:folHlink>
        <a:srgbClr val="0050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600" dirty="0" err="1" smtClean="0"/>
        </a:defPPr>
      </a:lstStyle>
    </a:txDef>
  </a:objectDefaults>
  <a:extraClrSchemeLst>
    <a:extraClrScheme>
      <a:clrScheme name="110216 template cordiax v01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4">
        <a:dk1>
          <a:srgbClr val="000000"/>
        </a:dk1>
        <a:lt1>
          <a:srgbClr val="FFFFFF"/>
        </a:lt1>
        <a:dk2>
          <a:srgbClr val="333399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5">
        <a:dk1>
          <a:srgbClr val="000000"/>
        </a:dk1>
        <a:lt1>
          <a:srgbClr val="FFFFFF"/>
        </a:lt1>
        <a:dk2>
          <a:srgbClr val="DDDDDD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inSITE">
  <a:themeElements>
    <a:clrScheme name="Benutzerdefiniert 3">
      <a:dk1>
        <a:srgbClr val="00509C"/>
      </a:dk1>
      <a:lt1>
        <a:srgbClr val="FFFFFF"/>
      </a:lt1>
      <a:dk2>
        <a:srgbClr val="00509C"/>
      </a:dk2>
      <a:lt2>
        <a:srgbClr val="FFC000"/>
      </a:lt2>
      <a:accent1>
        <a:srgbClr val="00509C"/>
      </a:accent1>
      <a:accent2>
        <a:srgbClr val="3F80BD"/>
      </a:accent2>
      <a:accent3>
        <a:srgbClr val="94BADE"/>
      </a:accent3>
      <a:accent4>
        <a:srgbClr val="009C2D"/>
      </a:accent4>
      <a:accent5>
        <a:srgbClr val="9C0012"/>
      </a:accent5>
      <a:accent6>
        <a:srgbClr val="94BADE"/>
      </a:accent6>
      <a:hlink>
        <a:srgbClr val="00509C"/>
      </a:hlink>
      <a:folHlink>
        <a:srgbClr val="0050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600" dirty="0" err="1" smtClean="0"/>
        </a:defPPr>
      </a:lstStyle>
    </a:txDef>
  </a:objectDefaults>
  <a:extraClrSchemeLst>
    <a:extraClrScheme>
      <a:clrScheme name="110216 template cordiax v01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0216 template cordiax v01a 1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4">
        <a:dk1>
          <a:srgbClr val="000000"/>
        </a:dk1>
        <a:lt1>
          <a:srgbClr val="FFFFFF"/>
        </a:lt1>
        <a:dk2>
          <a:srgbClr val="333399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0216 template cordiax v01a 15">
        <a:dk1>
          <a:srgbClr val="000000"/>
        </a:dk1>
        <a:lt1>
          <a:srgbClr val="FFFFFF"/>
        </a:lt1>
        <a:dk2>
          <a:srgbClr val="DDDDDD"/>
        </a:dk2>
        <a:lt2>
          <a:srgbClr val="C0C0C0"/>
        </a:lt2>
        <a:accent1>
          <a:srgbClr val="0067B1"/>
        </a:accent1>
        <a:accent2>
          <a:srgbClr val="F19800"/>
        </a:accent2>
        <a:accent3>
          <a:srgbClr val="FFFFFF"/>
        </a:accent3>
        <a:accent4>
          <a:srgbClr val="000000"/>
        </a:accent4>
        <a:accent5>
          <a:srgbClr val="AAB8D5"/>
        </a:accent5>
        <a:accent6>
          <a:srgbClr val="DA8900"/>
        </a:accent6>
        <a:hlink>
          <a:srgbClr val="6793CE"/>
        </a:hlink>
        <a:folHlink>
          <a:srgbClr val="D7EDF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CE32368D907D4096A7240138FADCF5" ma:contentTypeVersion="0" ma:contentTypeDescription="Create a new document." ma:contentTypeScope="" ma:versionID="9c4ef0b1b52ed11363f3417c6be173ec">
  <xsd:schema xmlns:xsd="http://www.w3.org/2001/XMLSchema" xmlns:xs="http://www.w3.org/2001/XMLSchema" xmlns:p="http://schemas.microsoft.com/office/2006/metadata/properties" xmlns:ns2="abaa237c-9fb7-49aa-ad67-af8d736e427b" targetNamespace="http://schemas.microsoft.com/office/2006/metadata/properties" ma:root="true" ma:fieldsID="28ea620431dbd4e669ba2b9c6101a753" ns2:_="">
    <xsd:import namespace="abaa237c-9fb7-49aa-ad67-af8d736e427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aa237c-9fb7-49aa-ad67-af8d736e427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Ite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baa237c-9fb7-49aa-ad67-af8d736e427b">F6EC3H4XTSDF-517-1195</_dlc_DocId>
    <_dlc_DocIdUrl xmlns="abaa237c-9fb7-49aa-ad67-af8d736e427b">
      <Url>https://insite.fresenius.de/projects/insite/CHINA-Deployment/_layouts/DocIdRedir.aspx?ID=F6EC3H4XTSDF-517-1195</Url>
      <Description>F6EC3H4XTSDF-517-1195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Application xmlns="http://www.sap.com/cof/powerpoint/application">
  <Version>2</Version>
  <Revision>2.2.3.56890</Revision>
</Application>
</file>

<file path=customXml/item6.xml><?xml version="1.0" encoding="utf-8"?>
<Application xmlns="http://www.sap.com/cof/ao/powerpoint/application">
  <com.sap.ip.bi.pioneer>
    <Version>4</Version>
    <AAO_Revision>2.2.3.56890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Items/>
  </com.sap.ip.bi.pioneer>
</Application>
</file>

<file path=customXml/itemProps1.xml><?xml version="1.0" encoding="utf-8"?>
<ds:datastoreItem xmlns:ds="http://schemas.openxmlformats.org/officeDocument/2006/customXml" ds:itemID="{1BD9D017-53B5-4B3C-868D-55092F590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aa237c-9fb7-49aa-ad67-af8d736e42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AC0558-22BF-44F5-90C1-A7CFE15D8A59}">
  <ds:schemaRefs>
    <ds:schemaRef ds:uri="http://schemas.microsoft.com/office/2006/metadata/properties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abaa237c-9fb7-49aa-ad67-af8d736e427b"/>
  </ds:schemaRefs>
</ds:datastoreItem>
</file>

<file path=customXml/itemProps3.xml><?xml version="1.0" encoding="utf-8"?>
<ds:datastoreItem xmlns:ds="http://schemas.openxmlformats.org/officeDocument/2006/customXml" ds:itemID="{925958EE-A98F-44B5-AAA8-B47DEBE88D3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0FB2B8C-E6EC-4769-8295-DB36F50C1ABC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1FAE27A-2E55-48D0-90ED-1222A99F078A}">
  <ds:schemaRefs>
    <ds:schemaRef ds:uri="http://www.sap.com/cof/powerpoint/application"/>
  </ds:schemaRefs>
</ds:datastoreItem>
</file>

<file path=customXml/itemProps6.xml><?xml version="1.0" encoding="utf-8"?>
<ds:datastoreItem xmlns:ds="http://schemas.openxmlformats.org/officeDocument/2006/customXml" ds:itemID="{101D4F39-BAAF-46D9-98BF-3DA669BEEFCE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ITE%20-%20Presentation</Template>
  <TotalTime>2070</TotalTime>
  <Words>226</Words>
  <Application>Microsoft Office PowerPoint</Application>
  <PresentationFormat>On-screen Show (4:3)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宋体</vt:lpstr>
      <vt:lpstr>Arial</vt:lpstr>
      <vt:lpstr>Calibri</vt:lpstr>
      <vt:lpstr>Wingdings</vt:lpstr>
      <vt:lpstr>3_inSITE</vt:lpstr>
      <vt:lpstr>4_inSITE</vt:lpstr>
      <vt:lpstr>think-cell Slide</vt:lpstr>
      <vt:lpstr>Interface Between HIS and inSITE</vt:lpstr>
    </vt:vector>
  </TitlesOfParts>
  <Company>Fresenius Medical Ca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TE_Presentation_Template</dc:title>
  <dc:creator>Jan Haeuser</dc:creator>
  <cp:lastModifiedBy>Sherry Xie</cp:lastModifiedBy>
  <cp:revision>4074</cp:revision>
  <cp:lastPrinted>2015-07-27T09:36:11Z</cp:lastPrinted>
  <dcterms:created xsi:type="dcterms:W3CDTF">2011-05-05T14:19:48Z</dcterms:created>
  <dcterms:modified xsi:type="dcterms:W3CDTF">2017-09-08T02:1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mment1">
    <vt:lpwstr>Guideline for Domain Leads and Project Mangers how to review ATDs and report ETCs.</vt:lpwstr>
  </property>
  <property fmtid="{D5CDD505-2E9C-101B-9397-08002B2CF9AE}" pid="3" name="ContentTypeId">
    <vt:lpwstr>0x010100F2CE32368D907D4096A7240138FADCF5</vt:lpwstr>
  </property>
  <property fmtid="{D5CDD505-2E9C-101B-9397-08002B2CF9AE}" pid="4" name="NXPowerLiteLastOptimized">
    <vt:lpwstr>179555</vt:lpwstr>
  </property>
  <property fmtid="{D5CDD505-2E9C-101B-9397-08002B2CF9AE}" pid="5" name="NXPowerLiteSettings">
    <vt:lpwstr>F7000400038000</vt:lpwstr>
  </property>
  <property fmtid="{D5CDD505-2E9C-101B-9397-08002B2CF9AE}" pid="6" name="NXPowerLiteVersion">
    <vt:lpwstr>D6.2.12</vt:lpwstr>
  </property>
  <property fmtid="{D5CDD505-2E9C-101B-9397-08002B2CF9AE}" pid="7" name="_dlc_DocId">
    <vt:lpwstr>F6EC3H4XTSDF-59-710</vt:lpwstr>
  </property>
  <property fmtid="{D5CDD505-2E9C-101B-9397-08002B2CF9AE}" pid="8" name="_dlc_DocIdItemGuid">
    <vt:lpwstr>4f74578c-a242-43c6-aa02-ae8c77b22643</vt:lpwstr>
  </property>
  <property fmtid="{D5CDD505-2E9C-101B-9397-08002B2CF9AE}" pid="9" name="_dlc_DocIdUrl">
    <vt:lpwstr>https://insite.fresenius.de/projects/insite/ProgramManagement/_layouts/DocIdRedir.aspx?ID=F6EC3H4XTSDF-59-710, F6EC3H4XTSDF-59-710</vt:lpwstr>
  </property>
</Properties>
</file>